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49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88" autoAdjust="0"/>
    <p:restoredTop sz="95280" autoAdjust="0"/>
  </p:normalViewPr>
  <p:slideViewPr>
    <p:cSldViewPr snapToGrid="0">
      <p:cViewPr varScale="1">
        <p:scale>
          <a:sx n="110" d="100"/>
          <a:sy n="110" d="100"/>
        </p:scale>
        <p:origin x="1926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B621FC7-84DA-4CA9-BDA5-5CFB8B091C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Header</a:t>
            </a: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3A1451-F87F-43E8-BC97-D5859924C52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C06D191-3064-4110-BA39-C2AF6EF2713E}" type="datetimeFigureOut">
              <a:rPr lang="en-GB"/>
              <a:pPr>
                <a:defRPr/>
              </a:pPr>
              <a:t>05/11/2020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ECACC80-426E-4836-A0C5-12DD6E2E4DD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Footer</a:t>
            </a: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9D6550-5C35-4804-BCED-CE62BF3563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825D9A9-28A4-4A48-B593-B98A9D1E9C1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993FE54-143F-44F4-B9EA-63092C43C2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Head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FDBA2-9A8E-48DB-91F5-20A9F1F0BB8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2CCD74D-CC02-48A0-B7AD-442590EEDE17}" type="datetimeFigureOut">
              <a:rPr lang="en-GB"/>
              <a:pPr>
                <a:defRPr/>
              </a:pPr>
              <a:t>05/11/2020</a:t>
            </a:fld>
            <a:endParaRPr lang="en-GB" dirty="0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42AB1BF4-5720-4660-AED2-34768648689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6B21C9F7-87D9-470B-91D0-FCCEF25E06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4975" y="4197350"/>
            <a:ext cx="5988050" cy="42608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1D3CE6-5EC7-4E31-8A33-C549BA4D0E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Foot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7A80280-73D1-4D94-8D67-DB8774B330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620323A-DA39-4FF4-ABCD-30BC7C2D621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1A4154AB-C19B-48A6-914B-F8C02831F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050" name="Objekt 83" hidden="1">
                        <a:extLst>
                          <a:ext uri="{FF2B5EF4-FFF2-40B4-BE49-F238E27FC236}">
                            <a16:creationId xmlns:a16="http://schemas.microsoft.com/office/drawing/2014/main" id="{F6DB1090-8645-4D52-A094-860CB5ECF37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B26918-FBFE-44A2-8AE2-AD93379E3F9D}"/>
              </a:ext>
            </a:extLst>
          </p:cNvPr>
          <p:cNvSpPr txBox="1">
            <a:spLocks/>
          </p:cNvSpPr>
          <p:nvPr userDrawn="1"/>
        </p:nvSpPr>
        <p:spPr>
          <a:xfrm>
            <a:off x="657226" y="6551229"/>
            <a:ext cx="532197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0EA20956-BA84-4B4E-A28E-05A5A454B5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50"/>
            <a:ext cx="8058150" cy="1231106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4" y="2156110"/>
            <a:ext cx="6408737" cy="872034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3354231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7088D08C-E7A8-4239-A70A-447374DE7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CCC237D7-6107-4264-A49D-A2E33A4D67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5870D1-D046-4E87-829E-B10D17B2C015}"/>
              </a:ext>
            </a:extLst>
          </p:cNvPr>
          <p:cNvSpPr txBox="1">
            <a:spLocks/>
          </p:cNvSpPr>
          <p:nvPr/>
        </p:nvSpPr>
        <p:spPr>
          <a:xfrm>
            <a:off x="1378744" y="6471854"/>
            <a:ext cx="350095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chemeClr val="bg2"/>
                </a:solidFill>
              </a:rPr>
              <a:t>Title, </a:t>
            </a:r>
            <a:fld id="{AF6A7A01-F0BB-4441-BAB9-3E7CB064C4A1}" type="datetime4">
              <a:rPr lang="en-GB" sz="90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5 November 2020</a:t>
            </a:fld>
            <a:r>
              <a:rPr lang="en-GB" sz="900" dirty="0"/>
              <a:t> </a:t>
            </a:r>
            <a:r>
              <a:rPr lang="en-GB" sz="900" dirty="0">
                <a:solidFill>
                  <a:schemeClr val="accent5"/>
                </a:solidFill>
              </a:rPr>
              <a:t>[</a:t>
            </a:r>
            <a:r>
              <a:rPr lang="en-US" sz="900" dirty="0">
                <a:solidFill>
                  <a:schemeClr val="accent5"/>
                </a:solidFill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A4AA16-8C05-41D3-AE13-FBED031224D6}"/>
              </a:ext>
            </a:extLst>
          </p:cNvPr>
          <p:cNvSpPr txBox="1">
            <a:spLocks/>
          </p:cNvSpPr>
          <p:nvPr/>
        </p:nvSpPr>
        <p:spPr>
          <a:xfrm>
            <a:off x="647701" y="6471854"/>
            <a:ext cx="461665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chemeClr val="bg2"/>
                </a:solidFill>
              </a:rPr>
              <a:t>Page </a:t>
            </a:r>
            <a:fld id="{1B9B72F4-75C2-4486-AB99-B57485918DA6}" type="slidenum">
              <a:rPr lang="en-GB" sz="90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6" name="Straight Connector 48">
            <a:extLst>
              <a:ext uri="{FF2B5EF4-FFF2-40B4-BE49-F238E27FC236}">
                <a16:creationId xmlns:a16="http://schemas.microsoft.com/office/drawing/2014/main" id="{FDFEC748-E07C-4944-94C8-E0EE02792E46}"/>
              </a:ext>
            </a:extLst>
          </p:cNvPr>
          <p:cNvCxnSpPr/>
          <p:nvPr/>
        </p:nvCxnSpPr>
        <p:spPr>
          <a:xfrm>
            <a:off x="647700" y="6381750"/>
            <a:ext cx="7992666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magine 15" descr="SidelLogoRGB.png">
            <a:extLst>
              <a:ext uri="{FF2B5EF4-FFF2-40B4-BE49-F238E27FC236}">
                <a16:creationId xmlns:a16="http://schemas.microsoft.com/office/drawing/2014/main" id="{9DF08BC4-C051-4993-8C25-0E1E27D1CD4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517" y="6483353"/>
            <a:ext cx="703659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MSIPCMac824d5a89b6858dd560e34c" descr="{&quot;HashCode&quot;:-1488328267,&quot;Placement&quot;:&quot;Footer&quot;,&quot;Top&quot;:521.6203,&quot;Left&quot;:453.911743,&quot;SlideWidth&quot;:960,&quot;SlideHeight&quot;:540}">
            <a:extLst>
              <a:ext uri="{FF2B5EF4-FFF2-40B4-BE49-F238E27FC236}">
                <a16:creationId xmlns:a16="http://schemas.microsoft.com/office/drawing/2014/main" id="{F74773F3-6003-450E-B1F3-68500396D22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23161" y="6672072"/>
            <a:ext cx="497681" cy="13849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it-IT" sz="900">
                <a:solidFill>
                  <a:srgbClr val="7F7F7F"/>
                </a:solidFill>
              </a:rPr>
              <a:t>General</a:t>
            </a:r>
          </a:p>
        </p:txBody>
      </p:sp>
      <p:graphicFrame>
        <p:nvGraphicFramePr>
          <p:cNvPr id="9" name="Objekt 82" hidden="1">
            <a:extLst>
              <a:ext uri="{FF2B5EF4-FFF2-40B4-BE49-F238E27FC236}">
                <a16:creationId xmlns:a16="http://schemas.microsoft.com/office/drawing/2014/main" id="{6F91B293-4082-494A-97AD-7D666548CB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1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3080" name="Objekt 82" hidden="1">
                        <a:extLst>
                          <a:ext uri="{FF2B5EF4-FFF2-40B4-BE49-F238E27FC236}">
                            <a16:creationId xmlns:a16="http://schemas.microsoft.com/office/drawing/2014/main" id="{4FF5A0B0-01BA-4C73-9ECF-E34B6630208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4" y="334808"/>
            <a:ext cx="7993063" cy="92333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67830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4" y="334808"/>
            <a:ext cx="7993063" cy="92333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4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it-IT" noProof="1"/>
              <a:t>Modifica gli stili del testo dello schema</a:t>
            </a:r>
          </a:p>
          <a:p>
            <a:pPr lvl="1"/>
            <a:r>
              <a:rPr lang="it-IT" noProof="1"/>
              <a:t>Secondo livello</a:t>
            </a:r>
          </a:p>
          <a:p>
            <a:pPr lvl="2"/>
            <a:r>
              <a:rPr lang="it-IT" noProof="1"/>
              <a:t>Terzo livello</a:t>
            </a:r>
          </a:p>
          <a:p>
            <a:pPr lvl="3"/>
            <a:r>
              <a:rPr lang="it-IT" noProof="1"/>
              <a:t>Quarto livello</a:t>
            </a:r>
          </a:p>
          <a:p>
            <a:pPr lvl="4"/>
            <a:r>
              <a:rPr lang="it-IT" noProof="1"/>
              <a:t>Quinto livello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608416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4" y="334808"/>
            <a:ext cx="7993063" cy="923330"/>
          </a:xfrm>
        </p:spPr>
        <p:txBody>
          <a:bodyPr/>
          <a:lstStyle/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it-IT" noProof="1"/>
              <a:t>Modifica gli stili del testo dello schema</a:t>
            </a:r>
          </a:p>
          <a:p>
            <a:pPr lvl="1"/>
            <a:r>
              <a:rPr lang="it-IT" noProof="1"/>
              <a:t>Secondo livello</a:t>
            </a:r>
          </a:p>
          <a:p>
            <a:pPr lvl="2"/>
            <a:r>
              <a:rPr lang="it-IT" noProof="1"/>
              <a:t>Terzo livello</a:t>
            </a:r>
          </a:p>
          <a:p>
            <a:pPr lvl="3"/>
            <a:r>
              <a:rPr lang="it-IT" noProof="1"/>
              <a:t>Quarto livello</a:t>
            </a:r>
          </a:p>
          <a:p>
            <a:pPr lvl="4"/>
            <a:r>
              <a:rPr lang="it-IT" noProof="1"/>
              <a:t>Quinto livello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112145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447E8AC6-7CFE-4DD1-B5E1-651AE33DC5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098" name="Object 1" hidden="1">
                        <a:extLst>
                          <a:ext uri="{FF2B5EF4-FFF2-40B4-BE49-F238E27FC236}">
                            <a16:creationId xmlns:a16="http://schemas.microsoft.com/office/drawing/2014/main" id="{6654ED73-B109-4FC4-BAA4-7BFEC7F59B1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10">
            <a:extLst>
              <a:ext uri="{FF2B5EF4-FFF2-40B4-BE49-F238E27FC236}">
                <a16:creationId xmlns:a16="http://schemas.microsoft.com/office/drawing/2014/main" id="{45D6126B-DAA4-4EE5-B1B1-69ABDF3753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C050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uppieren 6">
            <a:extLst>
              <a:ext uri="{FF2B5EF4-FFF2-40B4-BE49-F238E27FC236}">
                <a16:creationId xmlns:a16="http://schemas.microsoft.com/office/drawing/2014/main" id="{5CBE7971-DC50-43DC-86DD-2FC5CF730C9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946231" y="6481763"/>
            <a:ext cx="695325" cy="254000"/>
            <a:chOff x="5549665" y="6206561"/>
            <a:chExt cx="1423860" cy="388326"/>
          </a:xfrm>
        </p:grpSpPr>
        <p:sp>
          <p:nvSpPr>
            <p:cNvPr id="7" name="Freeform 18">
              <a:extLst>
                <a:ext uri="{FF2B5EF4-FFF2-40B4-BE49-F238E27FC236}">
                  <a16:creationId xmlns:a16="http://schemas.microsoft.com/office/drawing/2014/main" id="{A8FAAC5A-945B-46DC-BDD3-471457DE9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5069" y="6388588"/>
              <a:ext cx="118655" cy="95733"/>
            </a:xfrm>
            <a:custGeom>
              <a:avLst/>
              <a:gdLst>
                <a:gd name="T0" fmla="*/ 2147483646 w 88"/>
                <a:gd name="T1" fmla="*/ 2147483646 h 71"/>
                <a:gd name="T2" fmla="*/ 2147483646 w 88"/>
                <a:gd name="T3" fmla="*/ 0 h 71"/>
                <a:gd name="T4" fmla="*/ 2147483646 w 88"/>
                <a:gd name="T5" fmla="*/ 0 h 71"/>
                <a:gd name="T6" fmla="*/ 0 w 88"/>
                <a:gd name="T7" fmla="*/ 2147483646 h 71"/>
                <a:gd name="T8" fmla="*/ 2147483646 w 88"/>
                <a:gd name="T9" fmla="*/ 2147483646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8" h="71">
                  <a:moveTo>
                    <a:pt x="29" y="71"/>
                  </a:moveTo>
                  <a:lnTo>
                    <a:pt x="88" y="0"/>
                  </a:lnTo>
                  <a:lnTo>
                    <a:pt x="29" y="0"/>
                  </a:lnTo>
                  <a:lnTo>
                    <a:pt x="0" y="35"/>
                  </a:lnTo>
                  <a:lnTo>
                    <a:pt x="29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8" name="Freeform 19">
              <a:extLst>
                <a:ext uri="{FF2B5EF4-FFF2-40B4-BE49-F238E27FC236}">
                  <a16:creationId xmlns:a16="http://schemas.microsoft.com/office/drawing/2014/main" id="{EDB763DB-DB40-4553-BC06-434019DBBB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9665" y="6206561"/>
              <a:ext cx="1423860" cy="388326"/>
            </a:xfrm>
            <a:custGeom>
              <a:avLst/>
              <a:gdLst>
                <a:gd name="T0" fmla="*/ 2147483646 w 447"/>
                <a:gd name="T1" fmla="*/ 2147483646 h 122"/>
                <a:gd name="T2" fmla="*/ 2147483646 w 447"/>
                <a:gd name="T3" fmla="*/ 2147483646 h 122"/>
                <a:gd name="T4" fmla="*/ 2147483646 w 447"/>
                <a:gd name="T5" fmla="*/ 2147483646 h 122"/>
                <a:gd name="T6" fmla="*/ 2147483646 w 447"/>
                <a:gd name="T7" fmla="*/ 2147483646 h 122"/>
                <a:gd name="T8" fmla="*/ 2147483646 w 447"/>
                <a:gd name="T9" fmla="*/ 2147483646 h 122"/>
                <a:gd name="T10" fmla="*/ 2147483646 w 447"/>
                <a:gd name="T11" fmla="*/ 2147483646 h 122"/>
                <a:gd name="T12" fmla="*/ 2147483646 w 447"/>
                <a:gd name="T13" fmla="*/ 2147483646 h 122"/>
                <a:gd name="T14" fmla="*/ 0 w 447"/>
                <a:gd name="T15" fmla="*/ 2147483646 h 122"/>
                <a:gd name="T16" fmla="*/ 2147483646 w 447"/>
                <a:gd name="T17" fmla="*/ 2147483646 h 122"/>
                <a:gd name="T18" fmla="*/ 2147483646 w 447"/>
                <a:gd name="T19" fmla="*/ 2147483646 h 122"/>
                <a:gd name="T20" fmla="*/ 2147483646 w 447"/>
                <a:gd name="T21" fmla="*/ 2147483646 h 122"/>
                <a:gd name="T22" fmla="*/ 2147483646 w 447"/>
                <a:gd name="T23" fmla="*/ 2147483646 h 122"/>
                <a:gd name="T24" fmla="*/ 2147483646 w 447"/>
                <a:gd name="T25" fmla="*/ 2147483646 h 122"/>
                <a:gd name="T26" fmla="*/ 2147483646 w 447"/>
                <a:gd name="T27" fmla="*/ 2147483646 h 122"/>
                <a:gd name="T28" fmla="*/ 2147483646 w 447"/>
                <a:gd name="T29" fmla="*/ 2147483646 h 122"/>
                <a:gd name="T30" fmla="*/ 2147483646 w 447"/>
                <a:gd name="T31" fmla="*/ 2147483646 h 122"/>
                <a:gd name="T32" fmla="*/ 2147483646 w 447"/>
                <a:gd name="T33" fmla="*/ 2147483646 h 122"/>
                <a:gd name="T34" fmla="*/ 2147483646 w 447"/>
                <a:gd name="T35" fmla="*/ 2147483646 h 122"/>
                <a:gd name="T36" fmla="*/ 2147483646 w 447"/>
                <a:gd name="T37" fmla="*/ 2147483646 h 122"/>
                <a:gd name="T38" fmla="*/ 2147483646 w 447"/>
                <a:gd name="T39" fmla="*/ 2147483646 h 122"/>
                <a:gd name="T40" fmla="*/ 2147483646 w 447"/>
                <a:gd name="T41" fmla="*/ 2147483646 h 122"/>
                <a:gd name="T42" fmla="*/ 2147483646 w 447"/>
                <a:gd name="T43" fmla="*/ 2147483646 h 122"/>
                <a:gd name="T44" fmla="*/ 2147483646 w 447"/>
                <a:gd name="T45" fmla="*/ 2147483646 h 122"/>
                <a:gd name="T46" fmla="*/ 2147483646 w 447"/>
                <a:gd name="T47" fmla="*/ 2147483646 h 122"/>
                <a:gd name="T48" fmla="*/ 2147483646 w 447"/>
                <a:gd name="T49" fmla="*/ 2147483646 h 122"/>
                <a:gd name="T50" fmla="*/ 2147483646 w 447"/>
                <a:gd name="T51" fmla="*/ 2147483646 h 122"/>
                <a:gd name="T52" fmla="*/ 2147483646 w 447"/>
                <a:gd name="T53" fmla="*/ 2147483646 h 122"/>
                <a:gd name="T54" fmla="*/ 2147483646 w 447"/>
                <a:gd name="T55" fmla="*/ 2147483646 h 122"/>
                <a:gd name="T56" fmla="*/ 2147483646 w 447"/>
                <a:gd name="T57" fmla="*/ 2147483646 h 122"/>
                <a:gd name="T58" fmla="*/ 2147483646 w 447"/>
                <a:gd name="T59" fmla="*/ 2147483646 h 122"/>
                <a:gd name="T60" fmla="*/ 2147483646 w 447"/>
                <a:gd name="T61" fmla="*/ 2147483646 h 122"/>
                <a:gd name="T62" fmla="*/ 2147483646 w 447"/>
                <a:gd name="T63" fmla="*/ 2147483646 h 122"/>
                <a:gd name="T64" fmla="*/ 2147483646 w 447"/>
                <a:gd name="T65" fmla="*/ 2147483646 h 122"/>
                <a:gd name="T66" fmla="*/ 2147483646 w 447"/>
                <a:gd name="T67" fmla="*/ 2147483646 h 122"/>
                <a:gd name="T68" fmla="*/ 2147483646 w 447"/>
                <a:gd name="T69" fmla="*/ 2147483646 h 122"/>
                <a:gd name="T70" fmla="*/ 2147483646 w 447"/>
                <a:gd name="T71" fmla="*/ 2147483646 h 122"/>
                <a:gd name="T72" fmla="*/ 2147483646 w 447"/>
                <a:gd name="T73" fmla="*/ 2147483646 h 122"/>
                <a:gd name="T74" fmla="*/ 2147483646 w 447"/>
                <a:gd name="T75" fmla="*/ 2147483646 h 122"/>
                <a:gd name="T76" fmla="*/ 2147483646 w 447"/>
                <a:gd name="T77" fmla="*/ 2147483646 h 122"/>
                <a:gd name="T78" fmla="*/ 2147483646 w 447"/>
                <a:gd name="T79" fmla="*/ 2147483646 h 122"/>
                <a:gd name="T80" fmla="*/ 2147483646 w 447"/>
                <a:gd name="T81" fmla="*/ 2147483646 h 122"/>
                <a:gd name="T82" fmla="*/ 2147483646 w 447"/>
                <a:gd name="T83" fmla="*/ 2147483646 h 122"/>
                <a:gd name="T84" fmla="*/ 2147483646 w 447"/>
                <a:gd name="T85" fmla="*/ 2147483646 h 122"/>
                <a:gd name="T86" fmla="*/ 2147483646 w 447"/>
                <a:gd name="T87" fmla="*/ 2147483646 h 12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47" h="122">
                  <a:moveTo>
                    <a:pt x="102" y="87"/>
                  </a:moveTo>
                  <a:cubicBezTo>
                    <a:pt x="100" y="85"/>
                    <a:pt x="99" y="84"/>
                    <a:pt x="96" y="80"/>
                  </a:cubicBezTo>
                  <a:cubicBezTo>
                    <a:pt x="95" y="79"/>
                    <a:pt x="95" y="79"/>
                    <a:pt x="94" y="78"/>
                  </a:cubicBezTo>
                  <a:cubicBezTo>
                    <a:pt x="91" y="74"/>
                    <a:pt x="86" y="72"/>
                    <a:pt x="82" y="72"/>
                  </a:cubicBezTo>
                  <a:cubicBezTo>
                    <a:pt x="73" y="72"/>
                    <a:pt x="66" y="79"/>
                    <a:pt x="66" y="87"/>
                  </a:cubicBezTo>
                  <a:cubicBezTo>
                    <a:pt x="66" y="96"/>
                    <a:pt x="73" y="103"/>
                    <a:pt x="82" y="103"/>
                  </a:cubicBezTo>
                  <a:cubicBezTo>
                    <a:pt x="86" y="103"/>
                    <a:pt x="91" y="101"/>
                    <a:pt x="94" y="97"/>
                  </a:cubicBezTo>
                  <a:cubicBezTo>
                    <a:pt x="95" y="96"/>
                    <a:pt x="95" y="96"/>
                    <a:pt x="96" y="95"/>
                  </a:cubicBezTo>
                  <a:cubicBezTo>
                    <a:pt x="99" y="91"/>
                    <a:pt x="100" y="89"/>
                    <a:pt x="102" y="87"/>
                  </a:cubicBezTo>
                  <a:moveTo>
                    <a:pt x="46" y="87"/>
                  </a:moveTo>
                  <a:cubicBezTo>
                    <a:pt x="46" y="68"/>
                    <a:pt x="62" y="52"/>
                    <a:pt x="82" y="52"/>
                  </a:cubicBezTo>
                  <a:cubicBezTo>
                    <a:pt x="91" y="52"/>
                    <a:pt x="101" y="56"/>
                    <a:pt x="109" y="65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69" y="120"/>
                    <a:pt x="69" y="120"/>
                    <a:pt x="69" y="120"/>
                  </a:cubicBezTo>
                  <a:cubicBezTo>
                    <a:pt x="69" y="120"/>
                    <a:pt x="69" y="120"/>
                    <a:pt x="69" y="120"/>
                  </a:cubicBezTo>
                  <a:cubicBezTo>
                    <a:pt x="66" y="119"/>
                    <a:pt x="63" y="117"/>
                    <a:pt x="63" y="117"/>
                  </a:cubicBezTo>
                  <a:cubicBezTo>
                    <a:pt x="53" y="111"/>
                    <a:pt x="46" y="100"/>
                    <a:pt x="46" y="87"/>
                  </a:cubicBezTo>
                  <a:moveTo>
                    <a:pt x="133" y="118"/>
                  </a:moveTo>
                  <a:cubicBezTo>
                    <a:pt x="126" y="115"/>
                    <a:pt x="120" y="109"/>
                    <a:pt x="114" y="103"/>
                  </a:cubicBezTo>
                  <a:cubicBezTo>
                    <a:pt x="114" y="103"/>
                    <a:pt x="111" y="108"/>
                    <a:pt x="107" y="111"/>
                  </a:cubicBezTo>
                  <a:cubicBezTo>
                    <a:pt x="102" y="117"/>
                    <a:pt x="97" y="119"/>
                    <a:pt x="94" y="120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2" y="120"/>
                    <a:pt x="141" y="120"/>
                    <a:pt x="140" y="120"/>
                  </a:cubicBezTo>
                  <a:cubicBezTo>
                    <a:pt x="137" y="119"/>
                    <a:pt x="134" y="118"/>
                    <a:pt x="133" y="118"/>
                  </a:cubicBezTo>
                  <a:moveTo>
                    <a:pt x="231" y="69"/>
                  </a:moveTo>
                  <a:cubicBezTo>
                    <a:pt x="209" y="63"/>
                    <a:pt x="205" y="62"/>
                    <a:pt x="205" y="55"/>
                  </a:cubicBezTo>
                  <a:cubicBezTo>
                    <a:pt x="205" y="48"/>
                    <a:pt x="212" y="46"/>
                    <a:pt x="218" y="46"/>
                  </a:cubicBezTo>
                  <a:cubicBezTo>
                    <a:pt x="228" y="46"/>
                    <a:pt x="235" y="48"/>
                    <a:pt x="236" y="59"/>
                  </a:cubicBezTo>
                  <a:cubicBezTo>
                    <a:pt x="254" y="59"/>
                    <a:pt x="254" y="59"/>
                    <a:pt x="254" y="59"/>
                  </a:cubicBezTo>
                  <a:cubicBezTo>
                    <a:pt x="254" y="39"/>
                    <a:pt x="238" y="31"/>
                    <a:pt x="219" y="31"/>
                  </a:cubicBezTo>
                  <a:cubicBezTo>
                    <a:pt x="204" y="31"/>
                    <a:pt x="187" y="39"/>
                    <a:pt x="187" y="57"/>
                  </a:cubicBezTo>
                  <a:cubicBezTo>
                    <a:pt x="187" y="73"/>
                    <a:pt x="200" y="78"/>
                    <a:pt x="213" y="82"/>
                  </a:cubicBezTo>
                  <a:cubicBezTo>
                    <a:pt x="226" y="85"/>
                    <a:pt x="239" y="87"/>
                    <a:pt x="239" y="96"/>
                  </a:cubicBezTo>
                  <a:cubicBezTo>
                    <a:pt x="239" y="105"/>
                    <a:pt x="228" y="107"/>
                    <a:pt x="222" y="107"/>
                  </a:cubicBezTo>
                  <a:cubicBezTo>
                    <a:pt x="211" y="107"/>
                    <a:pt x="202" y="103"/>
                    <a:pt x="202" y="91"/>
                  </a:cubicBezTo>
                  <a:cubicBezTo>
                    <a:pt x="184" y="91"/>
                    <a:pt x="184" y="91"/>
                    <a:pt x="184" y="91"/>
                  </a:cubicBezTo>
                  <a:cubicBezTo>
                    <a:pt x="183" y="113"/>
                    <a:pt x="202" y="122"/>
                    <a:pt x="221" y="122"/>
                  </a:cubicBezTo>
                  <a:cubicBezTo>
                    <a:pt x="245" y="122"/>
                    <a:pt x="257" y="110"/>
                    <a:pt x="257" y="94"/>
                  </a:cubicBezTo>
                  <a:cubicBezTo>
                    <a:pt x="257" y="74"/>
                    <a:pt x="238" y="70"/>
                    <a:pt x="231" y="69"/>
                  </a:cubicBezTo>
                  <a:moveTo>
                    <a:pt x="336" y="64"/>
                  </a:moveTo>
                  <a:cubicBezTo>
                    <a:pt x="335" y="64"/>
                    <a:pt x="335" y="64"/>
                    <a:pt x="335" y="64"/>
                  </a:cubicBezTo>
                  <a:cubicBezTo>
                    <a:pt x="331" y="58"/>
                    <a:pt x="324" y="55"/>
                    <a:pt x="317" y="55"/>
                  </a:cubicBezTo>
                  <a:cubicBezTo>
                    <a:pt x="298" y="55"/>
                    <a:pt x="288" y="71"/>
                    <a:pt x="288" y="88"/>
                  </a:cubicBezTo>
                  <a:cubicBezTo>
                    <a:pt x="288" y="105"/>
                    <a:pt x="298" y="122"/>
                    <a:pt x="317" y="122"/>
                  </a:cubicBezTo>
                  <a:cubicBezTo>
                    <a:pt x="325" y="122"/>
                    <a:pt x="332" y="119"/>
                    <a:pt x="336" y="112"/>
                  </a:cubicBezTo>
                  <a:cubicBezTo>
                    <a:pt x="336" y="112"/>
                    <a:pt x="336" y="112"/>
                    <a:pt x="336" y="112"/>
                  </a:cubicBezTo>
                  <a:cubicBezTo>
                    <a:pt x="336" y="120"/>
                    <a:pt x="336" y="120"/>
                    <a:pt x="336" y="120"/>
                  </a:cubicBezTo>
                  <a:cubicBezTo>
                    <a:pt x="353" y="120"/>
                    <a:pt x="353" y="120"/>
                    <a:pt x="353" y="120"/>
                  </a:cubicBezTo>
                  <a:cubicBezTo>
                    <a:pt x="353" y="33"/>
                    <a:pt x="353" y="33"/>
                    <a:pt x="353" y="33"/>
                  </a:cubicBezTo>
                  <a:cubicBezTo>
                    <a:pt x="336" y="33"/>
                    <a:pt x="336" y="33"/>
                    <a:pt x="336" y="33"/>
                  </a:cubicBezTo>
                  <a:lnTo>
                    <a:pt x="336" y="64"/>
                  </a:lnTo>
                  <a:close/>
                  <a:moveTo>
                    <a:pt x="321" y="109"/>
                  </a:moveTo>
                  <a:cubicBezTo>
                    <a:pt x="310" y="109"/>
                    <a:pt x="306" y="98"/>
                    <a:pt x="306" y="88"/>
                  </a:cubicBezTo>
                  <a:cubicBezTo>
                    <a:pt x="306" y="78"/>
                    <a:pt x="310" y="68"/>
                    <a:pt x="321" y="68"/>
                  </a:cubicBezTo>
                  <a:cubicBezTo>
                    <a:pt x="332" y="68"/>
                    <a:pt x="336" y="78"/>
                    <a:pt x="336" y="88"/>
                  </a:cubicBezTo>
                  <a:cubicBezTo>
                    <a:pt x="336" y="99"/>
                    <a:pt x="333" y="109"/>
                    <a:pt x="321" y="109"/>
                  </a:cubicBezTo>
                  <a:moveTo>
                    <a:pt x="392" y="55"/>
                  </a:moveTo>
                  <a:cubicBezTo>
                    <a:pt x="372" y="55"/>
                    <a:pt x="359" y="70"/>
                    <a:pt x="359" y="89"/>
                  </a:cubicBezTo>
                  <a:cubicBezTo>
                    <a:pt x="359" y="108"/>
                    <a:pt x="372" y="122"/>
                    <a:pt x="392" y="122"/>
                  </a:cubicBezTo>
                  <a:cubicBezTo>
                    <a:pt x="406" y="122"/>
                    <a:pt x="416" y="115"/>
                    <a:pt x="421" y="101"/>
                  </a:cubicBezTo>
                  <a:cubicBezTo>
                    <a:pt x="406" y="101"/>
                    <a:pt x="406" y="101"/>
                    <a:pt x="406" y="101"/>
                  </a:cubicBezTo>
                  <a:cubicBezTo>
                    <a:pt x="405" y="104"/>
                    <a:pt x="399" y="109"/>
                    <a:pt x="392" y="109"/>
                  </a:cubicBezTo>
                  <a:cubicBezTo>
                    <a:pt x="383" y="109"/>
                    <a:pt x="377" y="104"/>
                    <a:pt x="377" y="93"/>
                  </a:cubicBezTo>
                  <a:cubicBezTo>
                    <a:pt x="422" y="93"/>
                    <a:pt x="422" y="93"/>
                    <a:pt x="422" y="93"/>
                  </a:cubicBezTo>
                  <a:cubicBezTo>
                    <a:pt x="424" y="73"/>
                    <a:pt x="413" y="55"/>
                    <a:pt x="392" y="55"/>
                  </a:cubicBezTo>
                  <a:moveTo>
                    <a:pt x="377" y="82"/>
                  </a:moveTo>
                  <a:cubicBezTo>
                    <a:pt x="377" y="77"/>
                    <a:pt x="380" y="68"/>
                    <a:pt x="391" y="68"/>
                  </a:cubicBezTo>
                  <a:cubicBezTo>
                    <a:pt x="400" y="68"/>
                    <a:pt x="403" y="73"/>
                    <a:pt x="405" y="82"/>
                  </a:cubicBezTo>
                  <a:lnTo>
                    <a:pt x="377" y="82"/>
                  </a:lnTo>
                  <a:close/>
                  <a:moveTo>
                    <a:pt x="430" y="120"/>
                  </a:moveTo>
                  <a:cubicBezTo>
                    <a:pt x="447" y="120"/>
                    <a:pt x="447" y="120"/>
                    <a:pt x="447" y="120"/>
                  </a:cubicBezTo>
                  <a:cubicBezTo>
                    <a:pt x="447" y="33"/>
                    <a:pt x="447" y="33"/>
                    <a:pt x="447" y="33"/>
                  </a:cubicBezTo>
                  <a:cubicBezTo>
                    <a:pt x="430" y="33"/>
                    <a:pt x="430" y="33"/>
                    <a:pt x="430" y="33"/>
                  </a:cubicBezTo>
                  <a:lnTo>
                    <a:pt x="430" y="120"/>
                  </a:lnTo>
                  <a:close/>
                  <a:moveTo>
                    <a:pt x="264" y="47"/>
                  </a:moveTo>
                  <a:cubicBezTo>
                    <a:pt x="281" y="47"/>
                    <a:pt x="281" y="47"/>
                    <a:pt x="281" y="47"/>
                  </a:cubicBezTo>
                  <a:cubicBezTo>
                    <a:pt x="281" y="33"/>
                    <a:pt x="281" y="33"/>
                    <a:pt x="281" y="33"/>
                  </a:cubicBezTo>
                  <a:cubicBezTo>
                    <a:pt x="264" y="33"/>
                    <a:pt x="264" y="33"/>
                    <a:pt x="264" y="33"/>
                  </a:cubicBezTo>
                  <a:lnTo>
                    <a:pt x="264" y="47"/>
                  </a:lnTo>
                  <a:close/>
                  <a:moveTo>
                    <a:pt x="264" y="120"/>
                  </a:moveTo>
                  <a:cubicBezTo>
                    <a:pt x="281" y="120"/>
                    <a:pt x="281" y="120"/>
                    <a:pt x="281" y="120"/>
                  </a:cubicBezTo>
                  <a:cubicBezTo>
                    <a:pt x="281" y="57"/>
                    <a:pt x="281" y="57"/>
                    <a:pt x="281" y="57"/>
                  </a:cubicBezTo>
                  <a:cubicBezTo>
                    <a:pt x="264" y="57"/>
                    <a:pt x="264" y="57"/>
                    <a:pt x="264" y="57"/>
                  </a:cubicBezTo>
                  <a:lnTo>
                    <a:pt x="264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/>
            </a:p>
          </p:txBody>
        </p:sp>
      </p:grp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3" y="2507780"/>
            <a:ext cx="7993063" cy="1231106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it-IT" noProof="1"/>
              <a:t>Fare clic per modificare lo stile del titolo dello schema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703" y="3856270"/>
            <a:ext cx="7993063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Fare clic per modificare lo stile del sottotitolo dello schem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66306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95" hidden="1">
            <a:extLst>
              <a:ext uri="{FF2B5EF4-FFF2-40B4-BE49-F238E27FC236}">
                <a16:creationId xmlns:a16="http://schemas.microsoft.com/office/drawing/2014/main" id="{62A7A58F-7C2B-46C0-AE55-6DD8043D8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2" name="Objekt 95" hidden="1">
                        <a:extLst>
                          <a:ext uri="{FF2B5EF4-FFF2-40B4-BE49-F238E27FC236}">
                            <a16:creationId xmlns:a16="http://schemas.microsoft.com/office/drawing/2014/main" id="{46333DD0-5169-4A4A-8E46-C071AB870A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magine 10" descr="RetroMKTGstatement16x9new.jpg">
            <a:extLst>
              <a:ext uri="{FF2B5EF4-FFF2-40B4-BE49-F238E27FC236}">
                <a16:creationId xmlns:a16="http://schemas.microsoft.com/office/drawing/2014/main" id="{EDB90A96-3107-4C05-981A-3427F4EA31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6" y="0"/>
            <a:ext cx="91154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786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13C13B57-4297-46D6-BE6A-C353A4B7EAD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think-cell Folie" r:id="rId11" imgW="360" imgH="360" progId="TCLayout.ActiveDocument.1">
                  <p:embed/>
                </p:oleObj>
              </mc:Choice>
              <mc:Fallback>
                <p:oleObj name="think-cell Folie" r:id="rId11" imgW="360" imgH="360" progId="TCLayout.ActiveDocument.1">
                  <p:embed/>
                  <p:pic>
                    <p:nvPicPr>
                      <p:cNvPr id="0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44D3E099-2BC1-4202-A244-D63685477DD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47702" y="334965"/>
            <a:ext cx="799504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altLang="it-IT" noProof="1"/>
              <a:t>Titelmasterformat durch Klicken bearbeiten</a:t>
            </a:r>
            <a:endParaRPr lang="en-GB" altLang="it-IT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ED70B675-B82D-4D43-9942-3AC241118C9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47700" y="1485903"/>
            <a:ext cx="7992666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noProof="1"/>
              <a:t>Click to edit text style</a:t>
            </a:r>
          </a:p>
          <a:p>
            <a:pPr lvl="1"/>
            <a:r>
              <a:rPr lang="en-GB" altLang="it-IT"/>
              <a:t>Second level</a:t>
            </a:r>
          </a:p>
          <a:p>
            <a:pPr lvl="2"/>
            <a:r>
              <a:rPr lang="en-GB" altLang="it-IT"/>
              <a:t>Third level</a:t>
            </a:r>
          </a:p>
          <a:p>
            <a:pPr lvl="3"/>
            <a:r>
              <a:rPr lang="en-GB" altLang="it-IT"/>
              <a:t>Forth level</a:t>
            </a:r>
          </a:p>
          <a:p>
            <a:pPr lvl="4"/>
            <a:r>
              <a:rPr lang="en-GB" altLang="it-IT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24C7DC9F-4C08-4EF4-A291-8A42E8E67039}"/>
              </a:ext>
            </a:extLst>
          </p:cNvPr>
          <p:cNvSpPr txBox="1">
            <a:spLocks/>
          </p:cNvSpPr>
          <p:nvPr/>
        </p:nvSpPr>
        <p:spPr>
          <a:xfrm>
            <a:off x="1378744" y="6471854"/>
            <a:ext cx="350095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chemeClr val="bg2"/>
                </a:solidFill>
              </a:rPr>
              <a:t>Title, </a:t>
            </a:r>
            <a:fld id="{AF6A7A01-F0BB-4441-BAB9-3E7CB064C4A1}" type="datetime4">
              <a:rPr lang="en-GB" sz="90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5 November 2020</a:t>
            </a:fld>
            <a:r>
              <a:rPr lang="en-GB" sz="900" dirty="0"/>
              <a:t> </a:t>
            </a:r>
            <a:r>
              <a:rPr lang="en-GB" sz="900" dirty="0">
                <a:solidFill>
                  <a:schemeClr val="accent5"/>
                </a:solidFill>
              </a:rPr>
              <a:t>[</a:t>
            </a:r>
            <a:r>
              <a:rPr lang="en-US" sz="900" dirty="0">
                <a:solidFill>
                  <a:schemeClr val="accent5"/>
                </a:solidFill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8C1A9467-0943-43AA-B6A1-3E16CF866444}"/>
              </a:ext>
            </a:extLst>
          </p:cNvPr>
          <p:cNvSpPr txBox="1">
            <a:spLocks/>
          </p:cNvSpPr>
          <p:nvPr/>
        </p:nvSpPr>
        <p:spPr>
          <a:xfrm>
            <a:off x="647701" y="6471854"/>
            <a:ext cx="461665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chemeClr val="bg2"/>
                </a:solidFill>
              </a:rPr>
              <a:t>Page </a:t>
            </a:r>
            <a:fld id="{F0BECDF1-AF6D-408E-8FE7-ABFC07EAFA65}" type="slidenum">
              <a:rPr lang="en-GB" sz="90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59DB4AC-7344-4C04-8C67-FA7060886ACB}"/>
              </a:ext>
            </a:extLst>
          </p:cNvPr>
          <p:cNvCxnSpPr/>
          <p:nvPr/>
        </p:nvCxnSpPr>
        <p:spPr>
          <a:xfrm>
            <a:off x="647700" y="6381750"/>
            <a:ext cx="7992666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2" name="Immagine 15" descr="SidelLogoRGB.png">
            <a:extLst>
              <a:ext uri="{FF2B5EF4-FFF2-40B4-BE49-F238E27FC236}">
                <a16:creationId xmlns:a16="http://schemas.microsoft.com/office/drawing/2014/main" id="{133815B4-6C3D-4D28-BB89-71C7CCFD7F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517" y="6483353"/>
            <a:ext cx="703659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07A0E173-084A-4549-9285-A41C8264A4F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240679" y="6624578"/>
            <a:ext cx="662642" cy="23342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</a:p>
        </p:txBody>
      </p:sp>
    </p:spTree>
    <p:custDataLst>
      <p:tags r:id="rId9"/>
    </p:custDataLst>
  </p:cSld>
  <p:clrMap bg1="dk1" tx1="lt1" bg2="dk2" tx2="lt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67" r:id="rId3"/>
    <p:sldLayoutId id="2147483768" r:id="rId4"/>
    <p:sldLayoutId id="2147483771" r:id="rId5"/>
    <p:sldLayoutId id="2147483772" r:id="rId6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189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377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566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754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796" indent="-177796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79" indent="-179384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75" indent="-177796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57" indent="-179384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jpe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pt-BR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VALOR E VANTAGENS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pt-BR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DESCRIÇÃO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pt-BR"/>
              <a:t>Previna paradas por falta de peças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pt-BR" dirty="0"/>
              <a:t>Medidores de vazão E + H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pt-BR" sz="800" dirty="0">
                <a:solidFill>
                  <a:srgbClr val="000000"/>
                </a:solidFill>
              </a:rPr>
              <a:t>Valor: Obsolescência</a:t>
            </a:r>
          </a:p>
          <a:p>
            <a:pPr>
              <a:defRPr/>
            </a:pPr>
            <a:r>
              <a:rPr lang="pt-BR" sz="800" dirty="0">
                <a:solidFill>
                  <a:srgbClr val="000000"/>
                </a:solidFill>
              </a:rPr>
              <a:t>Equipamento: SAE, SAG, SAF, SAM, Mixer and Carbo</a:t>
            </a:r>
          </a:p>
          <a:p>
            <a:pPr>
              <a:defRPr/>
            </a:pPr>
            <a:r>
              <a:rPr lang="pt-BR" sz="800" dirty="0">
                <a:solidFill>
                  <a:srgbClr val="000000"/>
                </a:solidFill>
              </a:rPr>
              <a:t>Código do catálogo: OCM001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46343"/>
            <a:ext cx="3920515" cy="32370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b="1" dirty="0"/>
              <a:t>Solução mais segura com componente novo da Sidel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b="1" dirty="0">
                <a:solidFill>
                  <a:srgbClr val="E64B00"/>
                </a:solidFill>
              </a:rPr>
              <a:t>Previne longas paradas em caso de falha</a:t>
            </a:r>
          </a:p>
          <a:p>
            <a:pPr marL="479822" lvl="1" indent="-136922">
              <a:spcBef>
                <a:spcPts val="5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spc="-20" dirty="0">
                <a:solidFill>
                  <a:srgbClr val="000000"/>
                </a:solidFill>
              </a:rPr>
              <a:t>Famílias E + H Promass 83 / 63F e Promag 50H / 53H instaladas em vários misturadores e a produção do Carbo é interrompida pelo fabricante.</a:t>
            </a:r>
          </a:p>
          <a:p>
            <a:pPr marL="479822" lvl="1" indent="-136922">
              <a:spcBef>
                <a:spcPts val="5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spc="-20" dirty="0">
                <a:solidFill>
                  <a:srgbClr val="000000"/>
                </a:solidFill>
              </a:rPr>
              <a:t>Risco de indisponibilidade iminente de peças sobressalentes.</a:t>
            </a:r>
          </a:p>
          <a:p>
            <a:pPr marL="479822" lvl="1" indent="-136922">
              <a:spcBef>
                <a:spcPts val="5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spc="-20" dirty="0">
                <a:solidFill>
                  <a:srgbClr val="000000"/>
                </a:solidFill>
              </a:rPr>
              <a:t>Risco de longo tempo de inatividade para equipamentos em fábricas de produtos de engarrafadores.</a:t>
            </a:r>
            <a:endParaRPr lang="pt-BR" sz="1100" b="1" spc="-30" dirty="0">
              <a:solidFill>
                <a:srgbClr val="E64B00"/>
              </a:solidFill>
            </a:endParaRP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b="1" spc="-30" dirty="0">
                <a:solidFill>
                  <a:srgbClr val="E64B00"/>
                </a:solidFill>
              </a:rPr>
              <a:t>Recursos de comunicação: </a:t>
            </a:r>
            <a:r>
              <a:rPr lang="pt-BR" sz="1100" spc="-20" dirty="0">
                <a:solidFill>
                  <a:srgbClr val="000000"/>
                </a:solidFill>
              </a:rPr>
              <a:t>HART, Wireless HART, Profibus PA / DP, Foundation Fields, Modbus RS485, Ethernet IP, Profinet) I / O</a:t>
            </a:r>
            <a:endParaRPr lang="pt-BR" sz="1100" b="1" spc="-30" dirty="0">
              <a:solidFill>
                <a:srgbClr val="E64B00"/>
              </a:solidFill>
            </a:endParaRP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100" b="1" spc="-30" dirty="0">
                <a:solidFill>
                  <a:srgbClr val="E64B00"/>
                </a:solidFill>
              </a:rPr>
              <a:t>Recursos adicionais: </a:t>
            </a:r>
            <a:r>
              <a:rPr lang="pt-BR" sz="1100" spc="-20" dirty="0">
                <a:solidFill>
                  <a:srgbClr val="000000"/>
                </a:solidFill>
              </a:rPr>
              <a:t>calibração ISO / IEC 17025, arquivo de mensagens de erro até 1000 em livros de registro, cobertura de diagnóstico&gt; 95%, proteção IP 66/67 com box tipo 4X, opção: IP69K aço inoxidá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14978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100" dirty="0">
                <a:solidFill>
                  <a:srgbClr val="000000"/>
                </a:solidFill>
              </a:rPr>
              <a:t>Novo sistema com novos cilindros de emenda: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100" dirty="0">
                <a:solidFill>
                  <a:srgbClr val="000000"/>
                </a:solidFill>
              </a:rPr>
              <a:t>O novo sistema consiste em novos cilindros pneumáticos Festo. Geralmente, 2 cilindros para as lâminas e 2 para os blocos para cada unidade de emenda integrada.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100" dirty="0">
                <a:solidFill>
                  <a:srgbClr val="000000"/>
                </a:solidFill>
              </a:rPr>
              <a:t>Inclui novas placas de montagem de blocos, novas placas de montagem de facas, conectores e material para reequipamento.</a:t>
            </a:r>
          </a:p>
        </p:txBody>
      </p:sp>
      <p:pic>
        <p:nvPicPr>
          <p:cNvPr id="17" name="Immagine 10" descr="Immagine che contiene strada, esterni, cielo&#10;&#10;Descrizione generata con affidabilità elevata">
            <a:extLst>
              <a:ext uri="{FF2B5EF4-FFF2-40B4-BE49-F238E27FC236}">
                <a16:creationId xmlns:a16="http://schemas.microsoft.com/office/drawing/2014/main" id="{C1AF2885-03D2-49B1-98DE-1DBF898A787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3267" y="3845898"/>
            <a:ext cx="1604133" cy="1903412"/>
          </a:xfrm>
          <a:prstGeom prst="rect">
            <a:avLst/>
          </a:prstGeom>
        </p:spPr>
      </p:pic>
      <p:pic>
        <p:nvPicPr>
          <p:cNvPr id="18" name="Immagine 11">
            <a:extLst>
              <a:ext uri="{FF2B5EF4-FFF2-40B4-BE49-F238E27FC236}">
                <a16:creationId xmlns:a16="http://schemas.microsoft.com/office/drawing/2014/main" id="{41343C79-45EB-4881-939C-5FF27E75A6C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0385" y="3764863"/>
            <a:ext cx="1507392" cy="1884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1733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16x9" id="{A098592D-B958-4201-9F7A-F56BD286F0F5}" vid="{18881033-C2EC-44D5-BF8A-51D73B1B5DB0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4711</TotalTime>
  <Words>229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NewSidel_Template_4x3_with add layouts</vt:lpstr>
      <vt:lpstr>think-cell Folie</vt:lpstr>
      <vt:lpstr>Previna paradas por falta de peça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92</cp:revision>
  <dcterms:created xsi:type="dcterms:W3CDTF">2019-02-20T10:39:16Z</dcterms:created>
  <dcterms:modified xsi:type="dcterms:W3CDTF">2020-11-05T11:3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